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768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369759"/>
            <a:ext cx="4791301" cy="25026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1071184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31" y="107118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360051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107540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12175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371578"/>
            <a:ext cx="4768651" cy="1704425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867038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4702625"/>
            <a:ext cx="4791301" cy="14791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214175" y="4238696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7" y="1071184"/>
            <a:ext cx="4791301" cy="10711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360051"/>
            <a:ext cx="4791301" cy="250268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080480"/>
            <a:ext cx="4791301" cy="109724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359083"/>
            <a:ext cx="4791301" cy="17169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51626" y="4702625"/>
            <a:ext cx="4791301" cy="147510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57555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2/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5521" y="231045"/>
            <a:ext cx="7660479" cy="507298"/>
          </a:xfrm>
        </p:spPr>
        <p:txBody>
          <a:bodyPr/>
          <a:lstStyle/>
          <a:p>
            <a:endParaRPr lang="da-DK" sz="23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275702" y="2383736"/>
            <a:ext cx="4791304" cy="2493064"/>
          </a:xfrm>
        </p:spPr>
        <p:txBody>
          <a:bodyPr>
            <a:noAutofit/>
          </a:bodyPr>
          <a:lstStyle/>
          <a:p>
            <a:r>
              <a:rPr lang="da-DK" sz="1100" dirty="0"/>
              <a:t>Jesus tilbage i Nazareth, i synagoge læser Es. 61 om sig selv, profeti om frihed til fanger, syn for blinde, udråbe </a:t>
            </a:r>
            <a:r>
              <a:rPr lang="da-DK" sz="1100" dirty="0" err="1"/>
              <a:t>nådeår</a:t>
            </a:r>
            <a:r>
              <a:rPr lang="da-DK" sz="1100" dirty="0"/>
              <a:t>.</a:t>
            </a:r>
          </a:p>
          <a:p>
            <a:r>
              <a:rPr lang="da-DK" sz="1100" dirty="0"/>
              <a:t>Han nævner men hedninger i GT , som bliver velsignede </a:t>
            </a:r>
          </a:p>
          <a:p>
            <a:endParaRPr lang="da-DK" sz="1100" dirty="0"/>
          </a:p>
          <a:p>
            <a:r>
              <a:rPr lang="da-DK" sz="1100" dirty="0"/>
              <a:t>Reaktion i hans hjemby: bliver ikke anerkendt, mordlyst </a:t>
            </a:r>
            <a:endParaRPr lang="da-DK" sz="1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sz="1200" dirty="0"/>
              <a:t>Luk. 4:16-3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75702" y="5107540"/>
            <a:ext cx="4791301" cy="1071121"/>
          </a:xfrm>
        </p:spPr>
        <p:txBody>
          <a:bodyPr/>
          <a:lstStyle/>
          <a:p>
            <a:pPr marL="0" indent="0">
              <a:buNone/>
            </a:pPr>
            <a:r>
              <a:rPr lang="da-DK" sz="1100" dirty="0"/>
              <a:t>Jesus har fremsat sit program, sin programerklæring, sin tjeneste på jorden. 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371578"/>
            <a:ext cx="4794777" cy="1704425"/>
          </a:xfrm>
        </p:spPr>
        <p:txBody>
          <a:bodyPr/>
          <a:lstStyle/>
          <a:p>
            <a:r>
              <a:rPr lang="da-DK" sz="1200" dirty="0"/>
              <a:t>Hvad betyder </a:t>
            </a:r>
            <a:r>
              <a:rPr lang="da-DK" sz="1200" dirty="0" err="1"/>
              <a:t>nådeår</a:t>
            </a:r>
            <a:r>
              <a:rPr lang="da-DK" sz="1200" dirty="0"/>
              <a:t> for os</a:t>
            </a:r>
          </a:p>
          <a:p>
            <a:r>
              <a:rPr lang="da-DK" sz="1200" dirty="0"/>
              <a:t>Hvordan v kan vi forklare mennesker, at Jesus kan sætte mennesker fri og gøre dem seende</a:t>
            </a:r>
          </a:p>
          <a:p>
            <a:r>
              <a:rPr lang="da-DK" sz="1200" dirty="0"/>
              <a:t>Hvad kan lukkede døre betyde </a:t>
            </a:r>
            <a:r>
              <a:rPr lang="da-DK" sz="1200"/>
              <a:t>for os</a:t>
            </a:r>
            <a:endParaRPr lang="da-DK" sz="1200" dirty="0"/>
          </a:p>
          <a:p>
            <a:endParaRPr lang="da-DK" sz="1200" dirty="0"/>
          </a:p>
          <a:p>
            <a:endParaRPr lang="da-DK" sz="12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4702625"/>
            <a:ext cx="4791301" cy="1479198"/>
          </a:xfrm>
        </p:spPr>
        <p:txBody>
          <a:bodyPr/>
          <a:lstStyle/>
          <a:p>
            <a:r>
              <a:rPr lang="da-DK" sz="1100" dirty="0"/>
              <a:t>Bøn for at vi også får frimodighed til at proklamere Jesus</a:t>
            </a:r>
          </a:p>
          <a:p>
            <a:r>
              <a:rPr lang="da-DK" sz="1100" dirty="0"/>
              <a:t>Bøn for dem ude i verden, som vi kender,  men som ikke kender Jesu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7803F5-6891-BD45-A643-E1B43C0AB861}"/>
              </a:ext>
            </a:extLst>
          </p:cNvPr>
          <p:cNvSpPr txBox="1"/>
          <p:nvPr/>
        </p:nvSpPr>
        <p:spPr>
          <a:xfrm>
            <a:off x="12107333" y="-2810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5C912E7-263A-1242-8E5A-A6DF1EA11F72}"/>
              </a:ext>
            </a:extLst>
          </p:cNvPr>
          <p:cNvSpPr txBox="1"/>
          <p:nvPr/>
        </p:nvSpPr>
        <p:spPr>
          <a:xfrm>
            <a:off x="4490113" y="47357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83b4fc67-7e4d-4af3-b66e-0e0e8a1422f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02</TotalTime>
  <Words>121</Words>
  <Application>Microsoft Macintosh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Century Gothic</vt:lpstr>
      <vt:lpstr>Verdana</vt:lpstr>
      <vt:lpstr>Wingdings 3</vt:lpstr>
      <vt:lpstr>Wisp</vt:lpstr>
      <vt:lpstr>think-cell Slide</vt:lpstr>
      <vt:lpstr>PowerPoint-præsentatio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Microsoft Office-bruger</cp:lastModifiedBy>
  <cp:revision>117</cp:revision>
  <dcterms:created xsi:type="dcterms:W3CDTF">2019-08-19T18:08:22Z</dcterms:created>
  <dcterms:modified xsi:type="dcterms:W3CDTF">2020-12-07T09:1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